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244" r:id="rId1"/>
  </p:sldMasterIdLst>
  <p:notesMasterIdLst>
    <p:notesMasterId r:id="rId5"/>
  </p:notesMasterIdLst>
  <p:handoutMasterIdLst>
    <p:handoutMasterId r:id="rId6"/>
  </p:handoutMasterIdLst>
  <p:sldIdLst>
    <p:sldId id="256" r:id="rId2"/>
    <p:sldId id="257" r:id="rId3"/>
    <p:sldId id="258" r:id="rId4"/>
  </p:sldIdLst>
  <p:sldSz cx="12192000" cy="6858000"/>
  <p:notesSz cx="7315200" cy="9601200"/>
  <p:custDataLst>
    <p:tags r:id="rId7"/>
  </p:custDataLst>
  <p:defaultTextStyle>
    <a:defPPr>
      <a:defRPr lang="en-US"/>
    </a:defPPr>
    <a:lvl1pPr marL="0" indent="0" algn="l" defTabSz="365756" rtl="0" eaLnBrk="1" fontAlgn="base" hangingPunct="1">
      <a:lnSpc>
        <a:spcPct val="110000"/>
      </a:lnSpc>
      <a:spcBef>
        <a:spcPts val="0"/>
      </a:spcBef>
      <a:spcAft>
        <a:spcPts val="1200"/>
      </a:spcAft>
      <a:buClrTx/>
      <a:buFontTx/>
      <a:buNone/>
      <a:defRPr sz="1000" b="0" u="none" baseline="0">
        <a:solidFill>
          <a:schemeClr val="tx1"/>
        </a:solidFill>
        <a:uFill>
          <a:solidFill>
            <a:schemeClr val="accent5"/>
          </a:solidFill>
        </a:uFill>
        <a:latin typeface="+mn-lt"/>
        <a:ea typeface="+mn-ea"/>
        <a:cs typeface="+mn-cs"/>
      </a:defRPr>
    </a:lvl1pPr>
    <a:lvl2pPr marL="18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 baseline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 baseline="0">
        <a:solidFill>
          <a:schemeClr val="tx1"/>
        </a:solidFill>
        <a:latin typeface="+mn-lt"/>
        <a:ea typeface="+mn-ea"/>
        <a:cs typeface="+mn-cs"/>
      </a:defRPr>
    </a:lvl5pPr>
    <a:lvl6pPr marL="0" indent="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Tx/>
      <a:buNone/>
      <a:defRPr sz="900" b="0" baseline="0">
        <a:solidFill>
          <a:schemeClr val="bg2"/>
        </a:solidFill>
        <a:latin typeface="+mn-lt"/>
        <a:ea typeface="+mn-ea"/>
        <a:cs typeface="+mn-cs"/>
      </a:defRPr>
    </a:lvl6pPr>
    <a:lvl7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b="1">
        <a:solidFill>
          <a:schemeClr val="tx1"/>
        </a:solidFill>
        <a:latin typeface="+mn-lt"/>
      </a:defRPr>
    </a:lvl7pPr>
    <a:lvl8pPr>
      <a:lnSpc>
        <a:spcPct val="110000"/>
      </a:lnSpc>
      <a:spcBef>
        <a:spcPts val="0"/>
      </a:spcBef>
      <a:spcAft>
        <a:spcPts val="600"/>
      </a:spcAft>
      <a:buClrTx/>
      <a:buFontTx/>
      <a:buNone/>
      <a:defRPr sz="1600" i="1" baseline="0">
        <a:solidFill>
          <a:schemeClr val="bg2"/>
        </a:solidFill>
        <a:latin typeface="+mn-lt"/>
      </a:defRPr>
    </a:lvl8pPr>
    <a:lvl9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cap="all" baseline="0">
        <a:solidFill>
          <a:schemeClr val="bg2"/>
        </a:solidFill>
        <a:latin typeface="+mn-lt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green"/>
    </p:penClr>
    <p:extLst>
      <p:ext uri="{EC167BDD-8182-4AB7-AECC-EB403E3ABB37}">
        <p14:laserClr xmlns:p14="http://schemas.microsoft.com/office/powerpoint/2010/main">
          <a:srgbClr val="00FF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B335"/>
    <a:srgbClr val="FF3130"/>
    <a:srgbClr val="FAFDF9"/>
    <a:srgbClr val="F8FCF6"/>
    <a:srgbClr val="F6FBF3"/>
    <a:srgbClr val="F1F9ED"/>
    <a:srgbClr val="EDF8E8"/>
    <a:srgbClr val="E8F6E2"/>
    <a:srgbClr val="FCFCFC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B1D203-1372-4C57-B10A-E3B16F0ECCC6}">
  <a:tblStyle styleId="{EBB1D203-1372-4C57-B10A-E3B16F0ECCC6}" styleName="AlixPartners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white"/>
        </a:fontRef>
        <a:schemeClr val="bg1"/>
      </a:tcTxStyle>
      <a:tcStyle>
        <a:tcBdr>
          <a:insideH>
            <a:ln w="1905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8FF73930-04D4-4040-94D7-63C60E4A88DB}" styleName="AlixPartners Complex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>
          <a:prstClr val="black"/>
        </a:fontRef>
        <a:schemeClr val="tx1"/>
      </a:tcTxStyle>
      <a:tcStyle>
        <a:tcBdr>
          <a:insideH>
            <a:ln w="9525" cmpd="sng">
              <a:solidFill>
                <a:schemeClr val="bg2"/>
              </a:solidFill>
              <a:prstDash val="dot"/>
            </a:ln>
          </a:insideH>
        </a:tcBdr>
        <a:fill>
          <a:noFill/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 b="off">
        <a:fontRef idx="minor"/>
        <a:schemeClr val="tx1"/>
      </a:tcTxStyle>
      <a:tcStyle>
        <a:tcBdr/>
        <a:fill>
          <a:solidFill>
            <a:schemeClr val="bg1"/>
          </a:solidFill>
        </a:fill>
      </a:tcStyle>
    </a:nwCell>
  </a:tblStyle>
  <a:tblStyle styleId="{29C7E00D-A442-4B89-85D6-65423FAA1975}" styleName="AlixPartners Multiple Bios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firstRow>
      <a:tcTxStyle b="off" i="off">
        <a:fontRef idx="minor">
          <a:prstClr val="black"/>
        </a:fontRef>
        <a:schemeClr val="tx1"/>
      </a:tcTxStyle>
      <a:tcStyle>
        <a:tcBdr>
          <a:bottom>
            <a:ln w="9525" cmpd="sng">
              <a:solidFill>
                <a:schemeClr val="accent5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23" autoAdjust="0"/>
  </p:normalViewPr>
  <p:slideViewPr>
    <p:cSldViewPr snapToObjects="1" showGuides="1">
      <p:cViewPr varScale="1">
        <p:scale>
          <a:sx n="106" d="100"/>
          <a:sy n="106" d="100"/>
        </p:scale>
        <p:origin x="1230" y="144"/>
      </p:cViewPr>
      <p:guideLst/>
    </p:cSldViewPr>
  </p:slideViewPr>
  <p:outlineViewPr>
    <p:cViewPr>
      <p:scale>
        <a:sx n="33" d="100"/>
        <a:sy n="33" d="100"/>
      </p:scale>
      <p:origin x="0" y="11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9" d="100"/>
          <a:sy n="79" d="100"/>
        </p:scale>
        <p:origin x="3834" y="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84330" y="1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54249" y="1"/>
            <a:ext cx="2159259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9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fld id="{6155F851-B96A-6448-9EFC-9BE9E8A5F1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10" y="0"/>
            <a:ext cx="1896020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0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 b="1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528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425" y="560388"/>
            <a:ext cx="7118350" cy="4005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41381" y="4767071"/>
            <a:ext cx="6632444" cy="411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528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fld id="{1D09B646-3DDD-604D-B50F-1FF9B332C2B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362" y="9333737"/>
            <a:ext cx="944962" cy="146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599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70" kern="1200">
        <a:solidFill>
          <a:schemeClr val="tx1"/>
        </a:solidFill>
        <a:latin typeface="Arial" charset="0"/>
        <a:ea typeface="ＭＳ Ｐゴシック" pitchFamily="1" charset="-128"/>
        <a:cs typeface="ＭＳ Ｐゴシック" pitchFamily="-123" charset="-128"/>
      </a:defRPr>
    </a:lvl1pPr>
    <a:lvl2pPr marL="231775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46355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682625" indent="-2190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91440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36494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83793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10922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783910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(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1045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7D15B-D755-41C0-82F2-E388B030E51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grpSp>
        <p:nvGrpSpPr>
          <p:cNvPr id="6" name="AP_Annotations"/>
          <p:cNvGrpSpPr>
            <a:grpSpLocks noUngrp="1" noRot="1" noChangeAspect="1" noResize="1"/>
          </p:cNvGrpSpPr>
          <p:nvPr userDrawn="1"/>
        </p:nvGrpSpPr>
        <p:grpSpPr>
          <a:xfrm>
            <a:off x="-1790701" y="-355584"/>
            <a:ext cx="13647485" cy="3978583"/>
            <a:chOff x="-1343026" y="-355584"/>
            <a:chExt cx="10235614" cy="3978583"/>
          </a:xfrm>
        </p:grpSpPr>
        <p:sp>
          <p:nvSpPr>
            <p:cNvPr id="5" name="Annotation 07"/>
            <p:cNvSpPr txBox="1">
              <a:spLocks noSelect="1" noMove="1"/>
            </p:cNvSpPr>
            <p:nvPr userDrawn="1"/>
          </p:nvSpPr>
          <p:spPr>
            <a:xfrm>
              <a:off x="-1343026" y="517086"/>
              <a:ext cx="1343025" cy="397032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 sz="1000"/>
              </a:defPPr>
              <a:lvl1pPr>
                <a:buFont typeface="Arial" panose="020B0604020202020204" pitchFamily="34" charset="0"/>
                <a:defRPr sz="600">
                  <a:solidFill>
                    <a:srgbClr val="5CB335"/>
                  </a:solidFill>
                </a:defRPr>
              </a:lvl1pPr>
            </a:lstStyle>
            <a:p>
              <a:pPr lvl="0"/>
              <a:r>
                <a:rPr lang="en-US" sz="600" dirty="0">
                  <a:solidFill>
                    <a:schemeClr val="bg2"/>
                  </a:solidFill>
                </a:rPr>
                <a:t>ALIXPARTNERS</a:t>
              </a:r>
              <a:r>
                <a:rPr lang="en-US" sz="600" baseline="0" dirty="0">
                  <a:solidFill>
                    <a:schemeClr val="bg2"/>
                  </a:solidFill>
                </a:rPr>
                <a:t> LOGO</a:t>
              </a:r>
              <a:br>
                <a:rPr lang="en-US" sz="600" baseline="0" dirty="0">
                  <a:solidFill>
                    <a:schemeClr val="bg2"/>
                  </a:solidFill>
                </a:rPr>
              </a:br>
              <a:r>
                <a:rPr lang="en-US" sz="600" baseline="0" dirty="0">
                  <a:solidFill>
                    <a:schemeClr val="bg2"/>
                  </a:solidFill>
                </a:rPr>
                <a:t>SITS ON TOP OF THIS LINE</a:t>
              </a:r>
              <a:br>
                <a:rPr lang="en-US" sz="600" baseline="0" dirty="0">
                  <a:solidFill>
                    <a:schemeClr val="bg2"/>
                  </a:solidFill>
                </a:rPr>
              </a:br>
              <a:r>
                <a:rPr lang="en-US" sz="600" baseline="0" dirty="0">
                  <a:solidFill>
                    <a:schemeClr val="bg2"/>
                  </a:solidFill>
                </a:rPr>
                <a:t>USE TO ALIGN CLIENT LOGO</a:t>
              </a:r>
              <a:endParaRPr lang="en-US" sz="600" dirty="0">
                <a:solidFill>
                  <a:schemeClr val="bg2"/>
                </a:solidFill>
              </a:endParaRPr>
            </a:p>
          </p:txBody>
        </p:sp>
        <p:sp>
          <p:nvSpPr>
            <p:cNvPr id="17" name="Annotation 06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84474"/>
            </a:xfr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8" name="Annotation 05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9" name="Annotation 04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20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</a:p>
          </p:txBody>
        </p:sp>
        <p:sp>
          <p:nvSpPr>
            <p:cNvPr id="21" name="Annotation 02"/>
            <p:cNvSpPr txBox="1">
              <a:spLocks noSelect="1" noMove="1"/>
            </p:cNvSpPr>
            <p:nvPr userDrawn="1"/>
          </p:nvSpPr>
          <p:spPr>
            <a:xfrm>
              <a:off x="7549563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 algn="r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CLIENT LOGO IS</a:t>
              </a:r>
              <a:br>
                <a:rPr lang="en-US" sz="600" baseline="0" dirty="0">
                  <a:solidFill>
                    <a:srgbClr val="5CB335"/>
                  </a:solidFill>
                </a:rPr>
              </a:br>
              <a:r>
                <a:rPr lang="en-US" sz="600" baseline="0" dirty="0">
                  <a:solidFill>
                    <a:srgbClr val="5CB335"/>
                  </a:solidFill>
                </a:rPr>
                <a:t>TOP-RIGHT ALIGNED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2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</p:grpSp>
      <p:sp>
        <p:nvSpPr>
          <p:cNvPr id="7" name="Date Placeholder"/>
          <p:cNvSpPr>
            <a:spLocks noGrp="1" noRot="1"/>
          </p:cNvSpPr>
          <p:nvPr userDrawn="1">
            <p:ph type="body" sz="quarter" idx="12" hasCustomPrompt="1"/>
          </p:nvPr>
        </p:nvSpPr>
        <p:spPr>
          <a:xfrm>
            <a:off x="368301" y="4187115"/>
            <a:ext cx="8411633" cy="257369"/>
          </a:xfrm>
          <a:prstGeom prst="rect">
            <a:avLst/>
          </a:prstGeom>
        </p:spPr>
        <p:txBody>
          <a:bodyPr vert="horz" wrap="square" lIns="0" tIns="0" rIns="0" bIns="71991" rtlCol="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000" b="1" cap="none" baseline="0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US" noProof="0" dirty="0"/>
              <a:t>Date with full month and four digit year</a:t>
            </a:r>
          </a:p>
        </p:txBody>
      </p:sp>
      <p:sp>
        <p:nvSpPr>
          <p:cNvPr id="9" name="Document Title"/>
          <p:cNvSpPr>
            <a:spLocks noGrp="1"/>
          </p:cNvSpPr>
          <p:nvPr>
            <p:ph type="title" hasCustomPrompt="1"/>
          </p:nvPr>
        </p:nvSpPr>
        <p:spPr>
          <a:xfrm>
            <a:off x="368301" y="2670886"/>
            <a:ext cx="8409519" cy="75811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400" b="1" baseline="0" dirty="0" smtClean="0">
                <a:latin typeface="+mj-lt"/>
              </a:defRPr>
            </a:lvl1pPr>
          </a:lstStyle>
          <a:p>
            <a:pPr lvl="0">
              <a:lnSpc>
                <a:spcPct val="90000"/>
              </a:lnSpc>
              <a:spcAft>
                <a:spcPts val="600"/>
              </a:spcAft>
            </a:pPr>
            <a:r>
              <a:rPr lang="en-US" noProof="0" dirty="0"/>
              <a:t>The document title is a maximum of two lines and set in 24pt bold type</a:t>
            </a:r>
          </a:p>
        </p:txBody>
      </p:sp>
      <p:sp>
        <p:nvSpPr>
          <p:cNvPr id="11" name="Subtitle Placeholder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8301" y="3429001"/>
            <a:ext cx="8411633" cy="458757"/>
          </a:xfrm>
          <a:prstGeom prst="rect">
            <a:avLst/>
          </a:prstGeom>
        </p:spPr>
        <p:txBody>
          <a:bodyPr vert="horz" wrap="square" lIns="0" tIns="180000" rIns="0" bIns="0" anchor="t" anchorCtr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99551" indent="0">
              <a:buFontTx/>
              <a:buNone/>
              <a:defRPr/>
            </a:lvl2pPr>
            <a:lvl3pPr marL="495483" indent="0">
              <a:buFontTx/>
              <a:buNone/>
              <a:defRPr/>
            </a:lvl3pPr>
            <a:lvl4pPr marL="742548" indent="0">
              <a:buFontTx/>
              <a:buNone/>
              <a:defRPr/>
            </a:lvl4pPr>
            <a:lvl5pPr marL="98418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The subtitle is one line in 18pt</a:t>
            </a:r>
          </a:p>
        </p:txBody>
      </p:sp>
      <p:sp>
        <p:nvSpPr>
          <p:cNvPr id="3" name="Client Logo"/>
          <p:cNvSpPr>
            <a:spLocks noGrp="1" noChangeAspect="1"/>
          </p:cNvSpPr>
          <p:nvPr userDrawn="1">
            <p:ph sz="quarter" idx="13"/>
          </p:nvPr>
        </p:nvSpPr>
        <p:spPr>
          <a:xfrm>
            <a:off x="9265886" y="319071"/>
            <a:ext cx="2559932" cy="109827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Bottom Line"/>
          <p:cNvSpPr>
            <a:spLocks noMove="1" noResize="1" noChangeShapeType="1"/>
          </p:cNvSpPr>
          <p:nvPr userDrawn="1"/>
        </p:nvSpPr>
        <p:spPr bwMode="gray">
          <a:xfrm>
            <a:off x="368300" y="6406855"/>
            <a:ext cx="11457517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  <p:pic>
        <p:nvPicPr>
          <p:cNvPr id="23" name="AlixPartners Logo">
            <a:extLst>
              <a:ext uri="{FF2B5EF4-FFF2-40B4-BE49-F238E27FC236}">
                <a16:creationId xmlns:a16="http://schemas.microsoft.com/office/drawing/2014/main" id="{E09CD1FD-C141-4B47-AFEE-9F09F625F280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7"/>
          <a:srcRect/>
          <a:stretch/>
        </p:blipFill>
        <p:spPr bwMode="black">
          <a:xfrm>
            <a:off x="363207" y="592807"/>
            <a:ext cx="2160000" cy="3215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331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29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656721"/>
              </p:ext>
            </p:extLst>
          </p:nvPr>
        </p:nvGraphicFramePr>
        <p:xfrm>
          <a:off x="1812" y="1442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541435-AD10-4B0C-B75A-F46957C8DA5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he agenda page uses same basic slide format and is built with usability in mind: a simple bulleted list</a:t>
            </a:r>
          </a:p>
        </p:txBody>
      </p:sp>
      <p:sp>
        <p:nvSpPr>
          <p:cNvPr id="4" name="Agenda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366185" y="1143000"/>
            <a:ext cx="11459633" cy="4937760"/>
          </a:xfrm>
        </p:spPr>
        <p:txBody>
          <a:bodyPr tIns="411480" anchor="t"/>
          <a:lstStyle>
            <a:lvl1pPr marL="182880" indent="-18288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baseline="0"/>
            </a:lvl1pPr>
            <a:lvl2pPr marL="182880" indent="-18288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b="1" baseline="0"/>
            </a:lvl2pPr>
            <a:lvl3pPr marL="356616" indent="-179388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1400" baseline="0"/>
            </a:lvl3pPr>
            <a:lvl4pPr marL="356616" indent="-179388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1400" b="1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/>
            </a:lvl5pPr>
          </a:lstStyle>
          <a:p>
            <a:pPr lvl="0"/>
            <a:r>
              <a:rPr lang="en-US" noProof="0" dirty="0"/>
              <a:t>Agenda Items are set in 14pt Verdana Regular</a:t>
            </a:r>
          </a:p>
          <a:p>
            <a:pPr lvl="1"/>
            <a:r>
              <a:rPr lang="en-US" noProof="0" dirty="0"/>
              <a:t>The active agenda point can be highlighted by just hitting tab</a:t>
            </a:r>
          </a:p>
          <a:p>
            <a:pPr lvl="2"/>
            <a:r>
              <a:rPr lang="en-US" noProof="0" dirty="0"/>
              <a:t>A subsection will require two tabs</a:t>
            </a:r>
          </a:p>
          <a:p>
            <a:pPr lvl="3"/>
            <a:r>
              <a:rPr lang="en-US" noProof="0" dirty="0"/>
              <a:t>A highlighted subsection accordingly three tab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143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97223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39A64D-4FBC-48B5-8530-E70C8646B63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Our headlines are written in sentence-case intended to tell a stand-alone story with impact and are a maximum of two lin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8967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0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AP_Annotations"/>
          <p:cNvGrpSpPr>
            <a:grpSpLocks noUngrp="1" noRot="1" noChangeAspect="1" noResize="1"/>
          </p:cNvGrpSpPr>
          <p:nvPr userDrawn="1"/>
        </p:nvGrpSpPr>
        <p:grpSpPr>
          <a:xfrm>
            <a:off x="-2646365" y="1143000"/>
            <a:ext cx="16849974" cy="5567486"/>
            <a:chOff x="-2646365" y="1143000"/>
            <a:chExt cx="16849974" cy="5567486"/>
          </a:xfrm>
        </p:grpSpPr>
        <p:sp>
          <p:nvSpPr>
            <p:cNvPr id="17" name="Annotations 1"/>
            <p:cNvSpPr txBox="1">
              <a:spLocks noSelect="1" noMove="1"/>
            </p:cNvSpPr>
            <p:nvPr userDrawn="1"/>
          </p:nvSpPr>
          <p:spPr>
            <a:xfrm>
              <a:off x="-2646365" y="1143000"/>
              <a:ext cx="2537481" cy="5567486"/>
            </a:xfrm>
            <a:prstGeom prst="rect">
              <a:avLst/>
            </a:prstGeom>
            <a:solidFill>
              <a:srgbClr val="666666"/>
            </a:solidFill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en-US" sz="600" b="1" cap="all" baseline="0" dirty="0">
                  <a:solidFill>
                    <a:srgbClr val="5CB335"/>
                  </a:solidFill>
                </a:rPr>
                <a:t>Personal Summary Guidelines</a:t>
              </a:r>
            </a:p>
            <a:p>
              <a:pPr>
                <a:spcAft>
                  <a:spcPts val="0"/>
                </a:spcAft>
              </a:pPr>
              <a:endParaRPr lang="en-US" sz="600" cap="all" baseline="0" dirty="0">
                <a:solidFill>
                  <a:srgbClr val="5CB335"/>
                </a:solidFill>
              </a:endParaRPr>
            </a:p>
            <a:p>
              <a:pPr>
                <a:spcAft>
                  <a:spcPts val="0"/>
                </a:spcAft>
              </a:pPr>
              <a:r>
                <a:rPr lang="en-US" sz="600" cap="all" baseline="0" dirty="0">
                  <a:solidFill>
                    <a:srgbClr val="5CB335"/>
                  </a:solidFill>
                </a:rPr>
                <a:t>What to Include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A statement of the value you bring to clients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A contextualized summary of your professional experience that supports the value you bring to the firm by mention of no more than one previous company by name—in order to avoid a résumé-style litany of jobs held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Include relevant professional certifications and affiliations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Include external volunteer, board, charitable, or cultural affiliations—maximum of two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Highest academic degree held at last school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Character limit is 1,000. White space is an important element of an appealing slide. </a:t>
              </a:r>
            </a:p>
            <a:p>
              <a:pPr>
                <a:spcAft>
                  <a:spcPts val="0"/>
                </a:spcAft>
              </a:pPr>
              <a:endParaRPr lang="en-US" sz="600" cap="all" baseline="0" dirty="0">
                <a:solidFill>
                  <a:srgbClr val="5CB335"/>
                </a:solidFill>
              </a:endParaRPr>
            </a:p>
            <a:p>
              <a:pPr>
                <a:spcAft>
                  <a:spcPts val="0"/>
                </a:spcAft>
              </a:pPr>
              <a:r>
                <a:rPr lang="en-US" sz="600" cap="all" baseline="0" dirty="0">
                  <a:solidFill>
                    <a:srgbClr val="5CB335"/>
                  </a:solidFill>
                </a:rPr>
                <a:t>What Not to Include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Professional titles or language focusing on our internal structure or roles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Personal information such as marital status or number of children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Hobbies, sports, and leisure time pursuits</a:t>
              </a:r>
            </a:p>
            <a:p>
              <a:pPr>
                <a:spcAft>
                  <a:spcPts val="0"/>
                </a:spcAft>
              </a:pPr>
              <a:endParaRPr lang="en-US" sz="600" cap="all" baseline="0" dirty="0">
                <a:solidFill>
                  <a:srgbClr val="5CB335"/>
                </a:solidFill>
              </a:endParaRPr>
            </a:p>
            <a:p>
              <a:pPr>
                <a:spcAft>
                  <a:spcPts val="0"/>
                </a:spcAft>
              </a:pPr>
              <a:r>
                <a:rPr lang="en-US" sz="600" cap="all" baseline="0" dirty="0">
                  <a:solidFill>
                    <a:srgbClr val="5CB335"/>
                  </a:solidFill>
                </a:rPr>
                <a:t>Style Guidelines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The lead-in sentence is critical. Do not repeat your full name, title, and office location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Don’t list your position. Instead, describe the functions you perform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Use third-person narrative when writing (He/She)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Round your total years of experience so your biography stays current for longer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Use strong, active verbs to communicate expertise, decisiveness, and leadership.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Use keywords associated with your expertise like cross-border restructuring, turnaround, technology, operations, and corporate strategy.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Make a value statement about your experience and business philosophy. What is the value you bring?</a:t>
              </a:r>
            </a:p>
            <a:p>
              <a:pPr>
                <a:spcAft>
                  <a:spcPts val="0"/>
                </a:spcAft>
              </a:pPr>
              <a:endParaRPr lang="en-US" sz="600" cap="all" baseline="0" dirty="0">
                <a:solidFill>
                  <a:srgbClr val="5CB335"/>
                </a:solidFill>
              </a:endParaRPr>
            </a:p>
            <a:p>
              <a:pPr>
                <a:spcAft>
                  <a:spcPts val="0"/>
                </a:spcAft>
              </a:pPr>
              <a:r>
                <a:rPr lang="en-US" sz="600" cap="all" baseline="0" dirty="0">
                  <a:solidFill>
                    <a:srgbClr val="5CB335"/>
                  </a:solidFill>
                </a:rPr>
                <a:t>Tone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Avoid sounding like a résumé or like a press release about your appointment. Adopt a conversational, professional tone.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Speak in active voice and use strong, action verbs in describing your experience. Avoid business jargon in favor of plain, direct language. </a:t>
              </a:r>
            </a:p>
            <a:p>
              <a:pPr marL="171450" indent="-17145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600" cap="all" baseline="0" dirty="0">
                  <a:solidFill>
                    <a:schemeClr val="bg1"/>
                  </a:solidFill>
                </a:rPr>
                <a:t>Mix sentence structure so that every sentence doesn’t begin with He or She.</a:t>
              </a:r>
            </a:p>
          </p:txBody>
        </p:sp>
        <p:sp>
          <p:nvSpPr>
            <p:cNvPr id="18" name="Annotations 2"/>
            <p:cNvSpPr txBox="1">
              <a:spLocks noSelect="1" noMove="1"/>
            </p:cNvSpPr>
            <p:nvPr userDrawn="1"/>
          </p:nvSpPr>
          <p:spPr>
            <a:xfrm>
              <a:off x="12300885" y="1143000"/>
              <a:ext cx="1902724" cy="3297634"/>
            </a:xfrm>
            <a:prstGeom prst="rect">
              <a:avLst/>
            </a:prstGeom>
            <a:solidFill>
              <a:srgbClr val="666666"/>
            </a:solidFill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en-US" sz="600" b="1" cap="all" baseline="0" dirty="0">
                  <a:solidFill>
                    <a:srgbClr val="5CB335"/>
                  </a:solidFill>
                </a:rPr>
                <a:t>Relevant Experience Guidelines</a:t>
              </a:r>
            </a:p>
            <a:p>
              <a:pPr>
                <a:spcAft>
                  <a:spcPts val="0"/>
                </a:spcAft>
              </a:pPr>
              <a:endParaRPr lang="en-US" sz="600" b="1" cap="all" baseline="0" dirty="0">
                <a:solidFill>
                  <a:srgbClr val="5CB335"/>
                </a:solidFill>
              </a:endParaRP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This is your opportunity to demonstrate your relevant experience.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End each fragment with a period.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Bulleted style, short and snappy fragments, not complete sentences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Key projects or engagements that best illustrate your experience and expertise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Projects’ outcomes, key results, with monetary figures when applicable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Short on project experience? Include relevant trainings or certifications.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New to AlixPartners? Mention relevant and disclosable experiences at previous companies and update your biography as you add more engagements at the firm.</a:t>
              </a:r>
            </a:p>
            <a:p>
              <a:pPr lvl="1">
                <a:spcAft>
                  <a:spcPts val="300"/>
                </a:spcAft>
              </a:pPr>
              <a:r>
                <a:rPr lang="en-US" sz="600" b="0" cap="all" baseline="0" dirty="0">
                  <a:solidFill>
                    <a:schemeClr val="bg1"/>
                  </a:solidFill>
                </a:rPr>
                <a:t>Character limit is 1,200. White space is an important element of an appealing slide. Don’t try to cram your entire career into this space.</a:t>
              </a:r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72922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0215A74-6FD9-4451-8AB0-A4C7436A67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Expertise Tombstone" hidden="1"/>
          <p:cNvSpPr>
            <a:spLocks noGrp="1" noSelect="1" noRot="1" noMove="1" noResize="1" noEditPoints="1" noChangeShapeType="1"/>
          </p:cNvSpPr>
          <p:nvPr>
            <p:ph type="body" sz="quarter" idx="40" hasCustomPrompt="1"/>
          </p:nvPr>
        </p:nvSpPr>
        <p:spPr bwMode="gray">
          <a:xfrm>
            <a:off x="368301" y="5714976"/>
            <a:ext cx="11459633" cy="641375"/>
          </a:xfrm>
          <a:noFill/>
          <a:ln>
            <a:noFill/>
          </a:ln>
        </p:spPr>
        <p:txBody>
          <a:bodyPr wrap="square" tIns="137160" bIns="137160" anchor="b">
            <a:noAutofit/>
          </a:bodyPr>
          <a:lstStyle>
            <a:lvl1pPr marL="0" indent="0" algn="ctr">
              <a:buFontTx/>
              <a:buNone/>
              <a:defRPr lang="en-US" sz="1200" b="1" dirty="0" smtClean="0">
                <a:solidFill>
                  <a:schemeClr val="bg1"/>
                </a:solidFill>
              </a:defRPr>
            </a:lvl1pPr>
            <a:lvl2pPr marL="0" indent="0" algn="l">
              <a:buFontTx/>
              <a:buNone/>
              <a:defRPr lang="en-US" sz="1000" b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0" algn="l">
              <a:buFontTx/>
              <a:buNone/>
              <a:defRPr lang="en-US" sz="1200" dirty="0" smtClean="0">
                <a:solidFill>
                  <a:schemeClr val="bg1"/>
                </a:solidFill>
              </a:defRPr>
            </a:lvl3pPr>
            <a:lvl4pPr marL="360000" indent="0" algn="l">
              <a:buFontTx/>
              <a:buNone/>
              <a:defRPr lang="en-US" sz="1200" dirty="0" smtClean="0">
                <a:solidFill>
                  <a:schemeClr val="bg1"/>
                </a:solidFill>
              </a:defRPr>
            </a:lvl4pPr>
            <a:lvl5pPr marL="540000" indent="0" algn="l">
              <a:buFontTx/>
              <a:buNone/>
              <a:defRPr lang="en-US" sz="1200" dirty="0">
                <a:solidFill>
                  <a:schemeClr val="bg1"/>
                </a:solidFill>
              </a:defRPr>
            </a:lvl5pPr>
          </a:lstStyle>
          <a:p>
            <a:pPr lvl="1"/>
            <a:endParaRPr/>
          </a:p>
        </p:txBody>
      </p:sp>
      <p:sp>
        <p:nvSpPr>
          <p:cNvPr id="19" name="Phone Number"/>
          <p:cNvSpPr>
            <a:spLocks noGrp="1"/>
          </p:cNvSpPr>
          <p:nvPr>
            <p:ph type="body" sz="quarter" idx="47" hasCustomPrompt="1"/>
          </p:nvPr>
        </p:nvSpPr>
        <p:spPr>
          <a:xfrm>
            <a:off x="1991648" y="1691660"/>
            <a:ext cx="3981613" cy="366645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300"/>
              </a:spcAft>
              <a:defRPr lang="en-US" dirty="0" smtClean="0"/>
            </a:lvl1pPr>
          </a:lstStyle>
          <a:p>
            <a:pPr lvl="0"/>
            <a:r>
              <a:rPr lang="en-US" noProof="0" dirty="0"/>
              <a:t>Choice of one phone number</a:t>
            </a:r>
            <a:br>
              <a:rPr lang="en-US" noProof="0" dirty="0"/>
            </a:br>
            <a:r>
              <a:rPr lang="en-US" noProof="0" dirty="0"/>
              <a:t>(second phone number is optional)</a:t>
            </a:r>
          </a:p>
        </p:txBody>
      </p:sp>
      <p:sp>
        <p:nvSpPr>
          <p:cNvPr id="23" name="Email"/>
          <p:cNvSpPr>
            <a:spLocks noGrp="1"/>
          </p:cNvSpPr>
          <p:nvPr>
            <p:ph type="body" sz="quarter" idx="50" hasCustomPrompt="1"/>
          </p:nvPr>
        </p:nvSpPr>
        <p:spPr>
          <a:xfrm>
            <a:off x="1993215" y="1490491"/>
            <a:ext cx="3980019" cy="174145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300"/>
              </a:spcAft>
              <a:defRPr lang="en-US" dirty="0"/>
            </a:lvl1pPr>
          </a:lstStyle>
          <a:p>
            <a:pPr lvl="0"/>
            <a:r>
              <a:rPr lang="en-US" noProof="0" dirty="0"/>
              <a:t>Email</a:t>
            </a:r>
          </a:p>
        </p:txBody>
      </p:sp>
      <p:sp>
        <p:nvSpPr>
          <p:cNvPr id="20" name="Firstname Lastname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993215" y="1142999"/>
            <a:ext cx="3980019" cy="235086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200" b="1" dirty="0"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10000"/>
              </a:lnSpc>
              <a:spcAft>
                <a:spcPts val="600"/>
              </a:spcAft>
            </a:pPr>
            <a:r>
              <a:rPr lang="en-US" noProof="0" dirty="0" err="1"/>
              <a:t>Firstname</a:t>
            </a:r>
            <a:r>
              <a:rPr lang="en-US" noProof="0" dirty="0"/>
              <a:t> </a:t>
            </a:r>
            <a:r>
              <a:rPr lang="en-US" noProof="0" dirty="0" err="1"/>
              <a:t>Lastname</a:t>
            </a:r>
            <a:endParaRPr lang="en-US" noProof="0" dirty="0"/>
          </a:p>
        </p:txBody>
      </p:sp>
      <p:sp>
        <p:nvSpPr>
          <p:cNvPr id="28" name="Experience Title"/>
          <p:cNvSpPr txBox="1"/>
          <p:nvPr userDrawn="1"/>
        </p:nvSpPr>
        <p:spPr bwMode="gray">
          <a:xfrm>
            <a:off x="6218768" y="1142999"/>
            <a:ext cx="5607051" cy="235086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200" baseline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z="1200" b="1" noProof="0" dirty="0"/>
              <a:t>Relevant experience</a:t>
            </a:r>
          </a:p>
        </p:txBody>
      </p:sp>
      <p:sp>
        <p:nvSpPr>
          <p:cNvPr id="22" name="Expertise"/>
          <p:cNvSpPr>
            <a:spLocks noGrp="1"/>
          </p:cNvSpPr>
          <p:nvPr>
            <p:ph type="body" sz="quarter" idx="51" hasCustomPrompt="1"/>
          </p:nvPr>
        </p:nvSpPr>
        <p:spPr>
          <a:xfrm>
            <a:off x="368301" y="2743201"/>
            <a:ext cx="5604932" cy="2922818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baseline="0" dirty="0" smtClean="0"/>
            </a:lvl1pPr>
            <a:lvl2pPr>
              <a:spcAft>
                <a:spcPts val="600"/>
              </a:spcAft>
              <a:defRPr lang="en-US" dirty="0" smtClean="0"/>
            </a:lvl2pPr>
            <a:lvl3pPr>
              <a:spcAft>
                <a:spcPts val="600"/>
              </a:spcAft>
              <a:defRPr lang="en-US" dirty="0" smtClean="0"/>
            </a:lvl3pPr>
            <a:lvl4pPr>
              <a:spcAft>
                <a:spcPts val="600"/>
              </a:spcAft>
              <a:defRPr lang="en-US" dirty="0" smtClean="0"/>
            </a:lvl4pPr>
            <a:lvl5pPr>
              <a:spcAft>
                <a:spcPts val="600"/>
              </a:spcAft>
              <a:defRPr lang="en-US" dirty="0"/>
            </a:lvl5pPr>
          </a:lstStyle>
          <a:p>
            <a:pPr lvl="0"/>
            <a:r>
              <a:rPr lang="en-US" noProof="0" dirty="0"/>
              <a:t>Personal summary – structure in multiple paragraphs for enhanced readability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5" name="Experience"/>
          <p:cNvSpPr>
            <a:spLocks noGrp="1"/>
          </p:cNvSpPr>
          <p:nvPr>
            <p:ph type="body" sz="quarter" idx="52" hasCustomPrompt="1"/>
          </p:nvPr>
        </p:nvSpPr>
        <p:spPr>
          <a:xfrm>
            <a:off x="6218768" y="1478150"/>
            <a:ext cx="5607051" cy="4187868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  <a:lvl2pPr>
              <a:spcAft>
                <a:spcPts val="600"/>
              </a:spcAft>
              <a:defRPr lang="en-US" dirty="0" smtClean="0"/>
            </a:lvl2pPr>
            <a:lvl3pPr>
              <a:spcAft>
                <a:spcPts val="600"/>
              </a:spcAft>
              <a:defRPr lang="en-US" dirty="0" smtClean="0"/>
            </a:lvl3pPr>
            <a:lvl4pPr>
              <a:spcAft>
                <a:spcPts val="600"/>
              </a:spcAft>
              <a:defRPr lang="en-US" dirty="0" smtClean="0"/>
            </a:lvl4pPr>
            <a:lvl5pPr>
              <a:spcAft>
                <a:spcPts val="600"/>
              </a:spcAft>
              <a:defRPr lang="en-US" dirty="0"/>
            </a:lvl5pPr>
          </a:lstStyle>
          <a:p>
            <a:pPr lvl="0"/>
            <a:r>
              <a:rPr lang="en-US" noProof="0" dirty="0"/>
              <a:t>List of relevant experience in bulleted format – use first indent level for proper bullet formatt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  <p:sp>
        <p:nvSpPr>
          <p:cNvPr id="15" name="Mugshot"/>
          <p:cNvSpPr>
            <a:spLocks noGrp="1" noResize="1"/>
          </p:cNvSpPr>
          <p:nvPr>
            <p:ph type="pic" sz="quarter" idx="41"/>
          </p:nvPr>
        </p:nvSpPr>
        <p:spPr bwMode="gray">
          <a:xfrm>
            <a:off x="368300" y="1142999"/>
            <a:ext cx="1440000" cy="1440000"/>
          </a:xfrm>
          <a:solidFill>
            <a:schemeClr val="bg1"/>
          </a:solidFill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Office"/>
          <p:cNvSpPr>
            <a:spLocks noGrp="1"/>
          </p:cNvSpPr>
          <p:nvPr>
            <p:ph type="body" sz="quarter" idx="56" hasCustomPrompt="1"/>
          </p:nvPr>
        </p:nvSpPr>
        <p:spPr>
          <a:xfrm>
            <a:off x="1993214" y="2103471"/>
            <a:ext cx="3980047" cy="203200"/>
          </a:xfrm>
        </p:spPr>
        <p:txBody>
          <a:bodyPr/>
          <a:lstStyle>
            <a:lvl1pPr>
              <a:spcAft>
                <a:spcPts val="300"/>
              </a:spcAft>
              <a:defRPr/>
            </a:lvl1pPr>
          </a:lstStyle>
          <a:p>
            <a:pPr lvl="0"/>
            <a:r>
              <a:rPr lang="en-US" noProof="0" dirty="0"/>
              <a:t>Optional Offic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FC0363-B371-4AC2-ACDF-75729D4713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he bio slide is generated from the Bio Tool – the optional headline connects individual’s expertise to projec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551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3" userDrawn="1">
          <p15:clr>
            <a:srgbClr val="000000"/>
          </p15:clr>
        </p15:guide>
        <p15:guide id="2" pos="3917" userDrawn="1">
          <p15:clr>
            <a:srgbClr val="000000"/>
          </p15:clr>
        </p15:guide>
        <p15:guide id="3" orient="horz" pos="1728" userDrawn="1">
          <p15:clr>
            <a:srgbClr val="000000"/>
          </p15:clr>
        </p15:guide>
        <p15:guide id="4" orient="horz" pos="1400" userDrawn="1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727473"/>
              </p:ext>
            </p:extLst>
          </p:nvPr>
        </p:nvGraphicFramePr>
        <p:xfrm>
          <a:off x="1812" y="1442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14EC05F-0195-4041-8052-64C40EDB802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Situation Placeholder"/>
          <p:cNvSpPr>
            <a:spLocks noGrp="1" noRot="1" noMove="1" noResize="1"/>
          </p:cNvSpPr>
          <p:nvPr>
            <p:ph type="body" sz="quarter" idx="46" hasCustomPrompt="1"/>
          </p:nvPr>
        </p:nvSpPr>
        <p:spPr>
          <a:xfrm>
            <a:off x="368300" y="1600221"/>
            <a:ext cx="3655083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  <a:lvl3pPr>
              <a:defRPr/>
            </a:lvl3pPr>
          </a:lstStyle>
          <a:p>
            <a:pPr lvl="0"/>
            <a:r>
              <a:rPr lang="en-US" noProof="0" dirty="0"/>
              <a:t>Describe the client without using the client name (example: Global oil and gas exploration company, Brand name consumer products company, etc.)</a:t>
            </a:r>
          </a:p>
          <a:p>
            <a:pPr lvl="1"/>
            <a:r>
              <a:rPr lang="en-US" noProof="0" dirty="0"/>
              <a:t>Describe the situation at your client. </a:t>
            </a:r>
          </a:p>
          <a:p>
            <a:pPr lvl="1"/>
            <a:r>
              <a:rPr lang="en-US" noProof="0" dirty="0"/>
              <a:t>What pain point was the Company facing?</a:t>
            </a:r>
          </a:p>
          <a:p>
            <a:pPr lvl="1"/>
            <a:r>
              <a:rPr lang="en-US" noProof="0" dirty="0"/>
              <a:t>Why did the company need to hire AlixPartners?</a:t>
            </a:r>
          </a:p>
          <a:p>
            <a:pPr lvl="2"/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Approach Placeholder"/>
          <p:cNvSpPr>
            <a:spLocks noGrp="1" noRot="1" noMove="1" noResize="1"/>
          </p:cNvSpPr>
          <p:nvPr>
            <p:ph type="body" sz="quarter" idx="47" hasCustomPrompt="1"/>
          </p:nvPr>
        </p:nvSpPr>
        <p:spPr>
          <a:xfrm>
            <a:off x="4267220" y="1600221"/>
            <a:ext cx="3657600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  <a:lvl2pPr>
              <a:defRPr/>
            </a:lvl2pPr>
          </a:lstStyle>
          <a:p>
            <a:pPr lvl="0"/>
            <a:r>
              <a:rPr lang="en-US" noProof="0" dirty="0"/>
              <a:t>Describe the actions we took to identify and solve the problem. What did we do? With whom did we work at the company? </a:t>
            </a:r>
          </a:p>
          <a:p>
            <a:pPr lvl="0"/>
            <a:r>
              <a:rPr lang="en-US" noProof="0" dirty="0"/>
              <a:t>Avoid describing the outcome of our work here - that comes in the next column.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Outcome Placeholder"/>
          <p:cNvSpPr>
            <a:spLocks noGrp="1" noRot="1" noMove="1" noResize="1"/>
          </p:cNvSpPr>
          <p:nvPr>
            <p:ph type="body" sz="quarter" idx="48" hasCustomPrompt="1"/>
          </p:nvPr>
        </p:nvSpPr>
        <p:spPr>
          <a:xfrm>
            <a:off x="8168619" y="1600221"/>
            <a:ext cx="3657200" cy="4756129"/>
          </a:xfrm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dirty="0" smtClean="0"/>
            </a:lvl1pPr>
            <a:lvl2pPr>
              <a:defRPr/>
            </a:lvl2pPr>
          </a:lstStyle>
          <a:p>
            <a:pPr lvl="0"/>
            <a:r>
              <a:rPr lang="en-US" noProof="0" dirty="0"/>
              <a:t>Ideally the outcome section will contain tangible metrics, like amount of costs reduced, revenue increased, EBITDA improved, etc. </a:t>
            </a:r>
          </a:p>
          <a:p>
            <a:pPr lvl="0"/>
            <a:r>
              <a:rPr lang="en-US" noProof="0" dirty="0"/>
              <a:t>It’s ok to include expected future savings if that’s all you have.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Title Situation"/>
          <p:cNvSpPr>
            <a:spLocks noRot="1" noMove="1" noResize="1"/>
          </p:cNvSpPr>
          <p:nvPr userDrawn="1"/>
        </p:nvSpPr>
        <p:spPr bwMode="gray">
          <a:xfrm>
            <a:off x="368300" y="1143000"/>
            <a:ext cx="3655083" cy="36578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ituation</a:t>
            </a:r>
          </a:p>
        </p:txBody>
      </p:sp>
      <p:sp>
        <p:nvSpPr>
          <p:cNvPr id="23" name="Title Approach"/>
          <p:cNvSpPr>
            <a:spLocks noRot="1" noMove="1" noResize="1"/>
          </p:cNvSpPr>
          <p:nvPr userDrawn="1"/>
        </p:nvSpPr>
        <p:spPr bwMode="gray">
          <a:xfrm>
            <a:off x="4267220" y="1143000"/>
            <a:ext cx="3657600" cy="365781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pproach</a:t>
            </a:r>
          </a:p>
        </p:txBody>
      </p:sp>
      <p:sp>
        <p:nvSpPr>
          <p:cNvPr id="24" name="Title Outcome"/>
          <p:cNvSpPr>
            <a:spLocks noRot="1" noMove="1" noResize="1"/>
          </p:cNvSpPr>
          <p:nvPr userDrawn="1"/>
        </p:nvSpPr>
        <p:spPr bwMode="gray">
          <a:xfrm>
            <a:off x="8168619" y="1143000"/>
            <a:ext cx="3657200" cy="365781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175" tIns="46175" rIns="46175" bIns="46175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1913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utcom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  <p:sp>
        <p:nvSpPr>
          <p:cNvPr id="12" name="Expertise Tag" hidden="1"/>
          <p:cNvSpPr>
            <a:spLocks noGrp="1"/>
          </p:cNvSpPr>
          <p:nvPr>
            <p:ph type="body" sz="quarter" idx="45" hasCustomPrompt="1"/>
          </p:nvPr>
        </p:nvSpPr>
        <p:spPr>
          <a:xfrm>
            <a:off x="368300" y="206234"/>
            <a:ext cx="11457517" cy="213314"/>
          </a:xfrm>
        </p:spPr>
        <p:txBody>
          <a:bodyPr/>
          <a:lstStyle>
            <a:lvl1pPr>
              <a:defRPr sz="800" cap="all" baseline="0">
                <a:solidFill>
                  <a:schemeClr val="bg2"/>
                </a:solidFill>
              </a:defRPr>
            </a:lvl1pPr>
          </a:lstStyle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E226CA-21BA-434D-8F62-94BE091EB1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he headline concisely summarizes the case study’s impact and highlights measurable key results and the correlating timefr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1416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35" userDrawn="1">
          <p15:clr>
            <a:srgbClr val="000000"/>
          </p15:clr>
        </p15:guide>
        <p15:guide id="2" pos="2688" userDrawn="1">
          <p15:clr>
            <a:srgbClr val="000000"/>
          </p15:clr>
        </p15:guide>
        <p15:guide id="3" pos="4992" userDrawn="1">
          <p15:clr>
            <a:srgbClr val="000000"/>
          </p15:clr>
        </p15:guide>
        <p15:guide id="4" pos="5145" userDrawn="1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375420"/>
              </p:ext>
            </p:extLst>
          </p:nvPr>
        </p:nvGraphicFramePr>
        <p:xfrm>
          <a:off x="1921" y="1441"/>
          <a:ext cx="192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41"/>
                        <a:ext cx="192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sclaimer Placeholder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1" y="5843871"/>
            <a:ext cx="5729817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050" baseline="0" dirty="0"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Optional disclaimers go here</a:t>
            </a:r>
          </a:p>
        </p:txBody>
      </p:sp>
      <p:sp>
        <p:nvSpPr>
          <p:cNvPr id="14" name="Footer"/>
          <p:cNvSpPr txBox="1">
            <a:spLocks/>
          </p:cNvSpPr>
          <p:nvPr userDrawn="1"/>
        </p:nvSpPr>
        <p:spPr>
          <a:xfrm>
            <a:off x="4434139" y="6500823"/>
            <a:ext cx="3323724" cy="12260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 eaLnBrk="0" hangingPunct="0"/>
            <a:r>
              <a:rPr lang="en-US" sz="8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2 AlixPartners, LLP.</a:t>
            </a:r>
            <a:endParaRPr lang="en-US" sz="800" spc="-2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AlixPartners Logo">
            <a:extLst>
              <a:ext uri="{FF2B5EF4-FFF2-40B4-BE49-F238E27FC236}">
                <a16:creationId xmlns:a16="http://schemas.microsoft.com/office/drawing/2014/main" id="{CC93B80C-6B65-49AA-A4D7-E17E2B797F60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6"/>
          <a:srcRect/>
          <a:stretch/>
        </p:blipFill>
        <p:spPr bwMode="black">
          <a:xfrm>
            <a:off x="4602000" y="2994793"/>
            <a:ext cx="2988000" cy="90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06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84594539"/>
              </p:ext>
            </p:extLst>
          </p:nvPr>
        </p:nvGraphicFramePr>
        <p:xfrm>
          <a:off x="2116" y="1592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5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6" y="1592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EE7B90D-571D-48B9-9A71-C52EB50DEA0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grpSp>
        <p:nvGrpSpPr>
          <p:cNvPr id="6" name="Grid Pattern"/>
          <p:cNvGrpSpPr/>
          <p:nvPr userDrawn="1"/>
        </p:nvGrpSpPr>
        <p:grpSpPr bwMode="hidden">
          <a:xfrm>
            <a:off x="368300" y="3600488"/>
            <a:ext cx="11457517" cy="298981"/>
            <a:chOff x="252000" y="5652293"/>
            <a:chExt cx="8641175" cy="5244"/>
          </a:xfrm>
          <a:solidFill>
            <a:schemeClr val="bg1"/>
          </a:solidFill>
        </p:grpSpPr>
        <p:sp>
          <p:nvSpPr>
            <p:cNvPr id="5" name="Rectangle 4"/>
            <p:cNvSpPr/>
            <p:nvPr userDrawn="1"/>
          </p:nvSpPr>
          <p:spPr bwMode="hidden">
            <a:xfrm>
              <a:off x="25200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hidden">
            <a:xfrm>
              <a:off x="98768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hidden">
            <a:xfrm>
              <a:off x="172337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hidden">
            <a:xfrm>
              <a:off x="245905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hidden">
            <a:xfrm>
              <a:off x="319474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hidden">
            <a:xfrm>
              <a:off x="393042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hidden">
            <a:xfrm>
              <a:off x="540179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hidden">
            <a:xfrm>
              <a:off x="687316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Rectangle 34"/>
            <p:cNvSpPr/>
            <p:nvPr userDrawn="1"/>
          </p:nvSpPr>
          <p:spPr bwMode="hidden">
            <a:xfrm>
              <a:off x="466611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hidden">
            <a:xfrm>
              <a:off x="613748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hidden">
            <a:xfrm>
              <a:off x="7608850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hidden">
            <a:xfrm>
              <a:off x="8344535" y="5652293"/>
              <a:ext cx="548640" cy="524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72000" tIns="72000" rIns="72000" bIns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endParaRPr lang="en-US" sz="1000" dirty="0" err="1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Main Content"/>
          <p:cNvSpPr>
            <a:spLocks noGrp="1"/>
          </p:cNvSpPr>
          <p:nvPr>
            <p:ph type="body" idx="1"/>
          </p:nvPr>
        </p:nvSpPr>
        <p:spPr>
          <a:xfrm>
            <a:off x="368300" y="1143000"/>
            <a:ext cx="11457517" cy="52133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First level of indentation of any text box is standard text – our default type is Verdana Regular in 10pt to draft complex slides – </a:t>
            </a:r>
            <a:br>
              <a:rPr lang="en-US" noProof="0" dirty="0"/>
            </a:br>
            <a:r>
              <a:rPr lang="en-US" noProof="0" dirty="0"/>
              <a:t>plain text slides should be set in 12pt instead.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Paragraph spacing is set up to advance second paragraph into content area. If importing an element in list style from an old deck – select all text in content box and hit &lt;Tab&gt; once or click the “Increase List Level” button.</a:t>
            </a:r>
          </a:p>
          <a:p>
            <a:pPr lvl="1"/>
            <a:r>
              <a:rPr lang="en-US" noProof="0" dirty="0"/>
              <a:t>First level bullets (second indentation/list level)</a:t>
            </a:r>
          </a:p>
          <a:p>
            <a:pPr lvl="2"/>
            <a:r>
              <a:rPr lang="en-US" noProof="0" dirty="0"/>
              <a:t>Second level bullets (third indentation/list level)</a:t>
            </a:r>
          </a:p>
          <a:p>
            <a:pPr lvl="3"/>
            <a:r>
              <a:rPr lang="en-US" noProof="0" dirty="0"/>
              <a:t>Third level bullets (fourth indentation/list level)</a:t>
            </a:r>
          </a:p>
          <a:p>
            <a:pPr lvl="4"/>
            <a:r>
              <a:rPr lang="en-US" noProof="0" dirty="0"/>
              <a:t>Fourth level bullets (fifth indentation/list level)</a:t>
            </a:r>
          </a:p>
          <a:p>
            <a:pPr marL="0" lvl="5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tabLst>
                <a:tab pos="2540" algn="r"/>
                <a:tab pos="3810" algn="l"/>
              </a:tabLst>
            </a:pPr>
            <a:r>
              <a:rPr lang="en-US" noProof="0" dirty="0"/>
              <a:t>Annotations or footnotes (sixth indentation/list level)</a:t>
            </a:r>
          </a:p>
          <a:p>
            <a:pPr lvl="6"/>
            <a:r>
              <a:rPr lang="en-US" noProof="0" dirty="0"/>
              <a:t>Bold text (seventh indentation/list level)</a:t>
            </a:r>
          </a:p>
          <a:p>
            <a:pPr lvl="7"/>
            <a:r>
              <a:rPr lang="en-US" noProof="0" dirty="0"/>
              <a:t>Quotes in 16pt (eighth indentation/list level)</a:t>
            </a:r>
          </a:p>
          <a:p>
            <a:pPr lvl="8"/>
            <a:r>
              <a:rPr lang="en-US" noProof="0" dirty="0"/>
              <a:t>All-caps for authors (ninth indentation/list level)</a:t>
            </a:r>
          </a:p>
        </p:txBody>
      </p:sp>
      <p:sp>
        <p:nvSpPr>
          <p:cNvPr id="1026" name="Slide Title Placeholder"/>
          <p:cNvSpPr>
            <a:spLocks noGrp="1" noChangeArrowheads="1"/>
          </p:cNvSpPr>
          <p:nvPr>
            <p:ph type="title"/>
          </p:nvPr>
        </p:nvSpPr>
        <p:spPr bwMode="auto">
          <a:xfrm>
            <a:off x="368301" y="423158"/>
            <a:ext cx="11459633" cy="71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359955"/>
            <a:r>
              <a:rPr lang="en-US" noProof="0" dirty="0"/>
              <a:t>Our headlines are written in sentence-case intended to tell a stand-alone story with impact and are a maximum of two lines</a:t>
            </a:r>
          </a:p>
        </p:txBody>
      </p:sp>
      <p:sp>
        <p:nvSpPr>
          <p:cNvPr id="12" name="Bottom Line"/>
          <p:cNvSpPr>
            <a:spLocks noMove="1" noResize="1" noChangeShapeType="1"/>
          </p:cNvSpPr>
          <p:nvPr userDrawn="1"/>
        </p:nvSpPr>
        <p:spPr bwMode="gray">
          <a:xfrm>
            <a:off x="368300" y="6406855"/>
            <a:ext cx="11457517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"/>
          <p:cNvSpPr txBox="1"/>
          <p:nvPr/>
        </p:nvSpPr>
        <p:spPr>
          <a:xfrm>
            <a:off x="11649488" y="6559934"/>
            <a:ext cx="176330" cy="12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algn="r" eaLnBrk="0" hangingPunct="0">
              <a:defRPr sz="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r"/>
            <a:fld id="{87F6F332-D11C-4923-9517-2AAE86E1C2C5}" type="slidenum">
              <a:rPr lang="en-US" sz="800" noProof="0" smtClean="0">
                <a:solidFill>
                  <a:schemeClr val="bg2"/>
                </a:solidFill>
              </a:rPr>
              <a:pPr lvl="0" algn="r"/>
              <a:t>‹#›</a:t>
            </a:fld>
            <a:endParaRPr lang="en-US" sz="800" noProof="0" dirty="0">
              <a:solidFill>
                <a:schemeClr val="bg2"/>
              </a:solidFill>
            </a:endParaRPr>
          </a:p>
        </p:txBody>
      </p:sp>
      <p:sp>
        <p:nvSpPr>
          <p:cNvPr id="27" name="Slide Master Version"/>
          <p:cNvSpPr txBox="1">
            <a:spLocks noMove="1" noResize="1"/>
          </p:cNvSpPr>
          <p:nvPr userDrawn="1"/>
        </p:nvSpPr>
        <p:spPr>
          <a:xfrm>
            <a:off x="6096001" y="6882146"/>
            <a:ext cx="5761567" cy="18447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r"/>
            <a:r>
              <a:rPr lang="en-US" sz="600" dirty="0">
                <a:solidFill>
                  <a:schemeClr val="tx1"/>
                </a:solidFill>
              </a:rPr>
              <a:t>ALIXPARTNERS </a:t>
            </a:r>
            <a:r>
              <a:rPr lang="en-US" sz="600" baseline="0" dirty="0">
                <a:solidFill>
                  <a:schemeClr val="tx1"/>
                </a:solidFill>
              </a:rPr>
              <a:t>SLIDE MASTER V.2021.02.25.00.16</a:t>
            </a:r>
            <a:endParaRPr lang="en-US" sz="600" dirty="0">
              <a:solidFill>
                <a:schemeClr val="tx1"/>
              </a:solidFill>
            </a:endParaRPr>
          </a:p>
        </p:txBody>
      </p:sp>
      <p:grpSp>
        <p:nvGrpSpPr>
          <p:cNvPr id="7" name="AP_Annotations"/>
          <p:cNvGrpSpPr>
            <a:grpSpLocks noUngrp="1" noRot="1" noChangeAspect="1" noResize="1"/>
          </p:cNvGrpSpPr>
          <p:nvPr userDrawn="1"/>
        </p:nvGrpSpPr>
        <p:grpSpPr>
          <a:xfrm>
            <a:off x="-1790700" y="-355584"/>
            <a:ext cx="9677400" cy="7096593"/>
            <a:chOff x="-1343025" y="-355584"/>
            <a:chExt cx="7258050" cy="7096593"/>
          </a:xfrm>
        </p:grpSpPr>
        <p:sp>
          <p:nvSpPr>
            <p:cNvPr id="4" name="Annotation 09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19" name="Annotation 08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20" name="Annotation 07"/>
            <p:cNvSpPr txBox="1">
              <a:spLocks noSelect="1" noMove="1"/>
            </p:cNvSpPr>
            <p:nvPr userDrawn="1"/>
          </p:nvSpPr>
          <p:spPr>
            <a:xfrm>
              <a:off x="-1343025" y="204788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TOP</a:t>
              </a:r>
              <a:r>
                <a:rPr lang="en-US" sz="600" baseline="0" dirty="0">
                  <a:solidFill>
                    <a:srgbClr val="595959"/>
                  </a:solidFill>
                </a:rPr>
                <a:t> AND BOTTOM DELIMITER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FOR SECTION HEADERS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1" name="Annotation 06"/>
            <p:cNvSpPr txBox="1">
              <a:spLocks noSelect="1" noMove="1"/>
            </p:cNvSpPr>
            <p:nvPr userDrawn="1"/>
          </p:nvSpPr>
          <p:spPr>
            <a:xfrm>
              <a:off x="-1343025" y="6454969"/>
              <a:ext cx="1343025" cy="28604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MIDDLE-ALIGNED </a:t>
              </a:r>
              <a:r>
                <a:rPr lang="en-US" sz="600" baseline="0" dirty="0">
                  <a:solidFill>
                    <a:srgbClr val="595959"/>
                  </a:solidFill>
                </a:rPr>
                <a:t>DISCLAIMER OR SOURCE BOX SITS BELOW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2" name="Annotation 05"/>
            <p:cNvSpPr txBox="1">
              <a:spLocks noSelect="1" noMove="1"/>
            </p:cNvSpPr>
            <p:nvPr userDrawn="1"/>
          </p:nvSpPr>
          <p:spPr>
            <a:xfrm>
              <a:off x="-1343025" y="522222"/>
              <a:ext cx="1343025" cy="387607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2ND ROW OF 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TOP-ALIGNED HEADLINE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SITS ON TOP OF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23" name="Annotation 04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8447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24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5" name="Annotation 02"/>
            <p:cNvSpPr txBox="1">
              <a:spLocks noSelect="1" noMove="1"/>
            </p:cNvSpPr>
            <p:nvPr userDrawn="1"/>
          </p:nvSpPr>
          <p:spPr>
            <a:xfrm>
              <a:off x="-1343025" y="6171876"/>
              <a:ext cx="1343025" cy="184474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BOTTOM-ALIGNED </a:t>
              </a:r>
              <a:r>
                <a:rPr lang="en-US" sz="600" baseline="0" dirty="0">
                  <a:solidFill>
                    <a:srgbClr val="5CB335"/>
                  </a:solidFill>
                </a:rPr>
                <a:t>FOOTNOTES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6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  <p:sp>
          <p:nvSpPr>
            <p:cNvPr id="39" name="Annotation 07"/>
            <p:cNvSpPr txBox="1">
              <a:spLocks noSelect="1" noMove="1"/>
            </p:cNvSpPr>
            <p:nvPr userDrawn="1"/>
          </p:nvSpPr>
          <p:spPr>
            <a:xfrm>
              <a:off x="-1343025" y="1504996"/>
              <a:ext cx="1343025" cy="64306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CONTENT</a:t>
              </a:r>
              <a:r>
                <a:rPr lang="en-US" sz="600" baseline="0" dirty="0">
                  <a:solidFill>
                    <a:srgbClr val="5CB335"/>
                  </a:solidFill>
                </a:rPr>
                <a:t> BELOW THIS LINE IF SUB-HEADER IS PRESENT</a:t>
              </a:r>
            </a:p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SUB-HEADER TOP ALIGNED WITH UPPER GREEN GUIDE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</p:grpSp>
      <p:sp>
        <p:nvSpPr>
          <p:cNvPr id="13" name="Top Banner Placeholder"/>
          <p:cNvSpPr>
            <a:spLocks noGrp="1" noRot="1" noMove="1" noResize="1"/>
          </p:cNvSpPr>
          <p:nvPr>
            <p:ph type="dt" sz="half" idx="2"/>
          </p:nvPr>
        </p:nvSpPr>
        <p:spPr bwMode="gray">
          <a:xfrm>
            <a:off x="1" y="1"/>
            <a:ext cx="12187767" cy="199557"/>
          </a:xfrm>
          <a:prstGeom prst="rect">
            <a:avLst/>
          </a:prstGeom>
          <a:solidFill>
            <a:srgbClr val="FF3130"/>
          </a:solidFill>
        </p:spPr>
        <p:txBody>
          <a:bodyPr vert="horz" lIns="274320" tIns="45720" rIns="274320" bIns="45720" rtlCol="0" anchor="ctr"/>
          <a:lstStyle>
            <a:lvl1pPr>
              <a:defRPr lang="en-US" sz="800" smtClean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ft/Strictly confidential 01/06/2017 13:41 (Us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 &amp; Footer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ixed Date”)</a:t>
            </a:r>
          </a:p>
        </p:txBody>
      </p:sp>
      <p:sp>
        <p:nvSpPr>
          <p:cNvPr id="10" name="Footer Placeholder"/>
          <p:cNvSpPr>
            <a:spLocks noGrp="1" noRot="1" noMove="1" noResize="1"/>
          </p:cNvSpPr>
          <p:nvPr>
            <p:ph type="ftr" sz="quarter" idx="3"/>
          </p:nvPr>
        </p:nvSpPr>
        <p:spPr>
          <a:xfrm>
            <a:off x="368301" y="6446839"/>
            <a:ext cx="8525503" cy="36925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800" smtClean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Optional area for disclaimer (e.g. Due diligence) or sources (Inserted via “INSERT tab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Headers &amp; Footers </a:t>
            </a:r>
            <a:r>
              <a:rPr lang="en-US" dirty="0">
                <a:sym typeface="Wingdings 3" panose="05040102010807070707" pitchFamily="18" charset="2"/>
              </a:rPr>
              <a:t></a:t>
            </a:r>
            <a:r>
              <a:rPr lang="en-US" dirty="0"/>
              <a:t> Footer”)</a:t>
            </a:r>
            <a:endParaRPr lang="en-US" noProof="0" dirty="0"/>
          </a:p>
        </p:txBody>
      </p:sp>
      <p:pic>
        <p:nvPicPr>
          <p:cNvPr id="41" name="AlixPartners Logo">
            <a:extLst>
              <a:ext uri="{FF2B5EF4-FFF2-40B4-BE49-F238E27FC236}">
                <a16:creationId xmlns:a16="http://schemas.microsoft.com/office/drawing/2014/main" id="{BF5CBDBD-51B9-4427-9679-CD7BD7821EAF}"/>
              </a:ext>
            </a:extLst>
          </p:cNvPr>
          <p:cNvPicPr>
            <a:picLocks noRot="1" noChangeAspect="1" noMove="1" noResize="1"/>
          </p:cNvPicPr>
          <p:nvPr userDrawn="1"/>
        </p:nvPicPr>
        <p:blipFill>
          <a:blip r:embed="rId13"/>
          <a:srcRect/>
          <a:stretch/>
        </p:blipFill>
        <p:spPr bwMode="gray">
          <a:xfrm>
            <a:off x="9979238" y="6536268"/>
            <a:ext cx="1260000" cy="1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68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8" r:id="rId3"/>
    <p:sldLayoutId id="2147484260" r:id="rId4"/>
    <p:sldLayoutId id="2147484261" r:id="rId5"/>
    <p:sldLayoutId id="2147484262" r:id="rId6"/>
  </p:sldLayoutIdLst>
  <p:hf sldNum="0" hdr="0" ftr="0" dt="0"/>
  <p:txStyles>
    <p:titleStyle>
      <a:lvl1pPr algn="l" defTabSz="365756" rtl="0" eaLnBrk="1" fontAlgn="base" hangingPunct="1">
        <a:lnSpc>
          <a:spcPts val="2100"/>
        </a:lnSpc>
        <a:spcBef>
          <a:spcPct val="0"/>
        </a:spcBef>
        <a:spcAft>
          <a:spcPct val="0"/>
        </a:spcAft>
        <a:buClrTx/>
        <a:buFontTx/>
        <a:buNone/>
        <a:defRPr lang="en-US" sz="1800" b="1" baseline="0" dirty="0">
          <a:solidFill>
            <a:schemeClr val="tx1"/>
          </a:solidFill>
          <a:latin typeface="+mj-lt"/>
          <a:ea typeface="+mj-ea"/>
          <a:cs typeface="+mj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9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1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16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000" cap="all" baseline="0">
          <a:solidFill>
            <a:schemeClr val="bg2"/>
          </a:solidFill>
          <a:latin typeface="+mn-lt"/>
        </a:defRPr>
      </a:lvl9pPr>
    </p:titleStyle>
    <p:bodyStyle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1200"/>
        </a:spcAft>
        <a:buClrTx/>
        <a:buFontTx/>
        <a:buNone/>
        <a:defRPr sz="1000" b="0" u="none" baseline="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9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1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14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000" cap="all" baseline="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100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900" b="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•"/>
        <a:defRPr sz="9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9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defRPr sz="1200">
          <a:solidFill>
            <a:schemeClr val="tx1"/>
          </a:solidFill>
          <a:latin typeface="+mn-lt"/>
        </a:defRPr>
      </a:lvl7pPr>
      <a:lvl8pPr marL="18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•"/>
        <a:defRPr sz="1200">
          <a:solidFill>
            <a:schemeClr val="tx1"/>
          </a:solidFill>
          <a:latin typeface="+mn-lt"/>
        </a:defRPr>
      </a:lvl8pPr>
      <a:lvl9pPr marL="36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−"/>
        <a:defRPr sz="1200">
          <a:solidFill>
            <a:schemeClr val="bg2"/>
          </a:solidFill>
          <a:latin typeface="+mn-lt"/>
        </a:defRPr>
      </a:lvl9pPr>
    </p:otherStyle>
  </p:txStyles>
  <p:extLst>
    <p:ext uri="{27BBF7A9-308A-43DC-89C8-2F10F3537804}">
      <p15:sldGuideLst xmlns:p15="http://schemas.microsoft.com/office/powerpoint/2012/main">
        <p15:guide id="2" pos="231" userDrawn="1">
          <p15:clr>
            <a:srgbClr val="5CB335"/>
          </p15:clr>
        </p15:guide>
        <p15:guide id="3" pos="7449" userDrawn="1">
          <p15:clr>
            <a:srgbClr val="5CB335"/>
          </p15:clr>
        </p15:guide>
        <p15:guide id="5" orient="horz" pos="720" userDrawn="1">
          <p15:clr>
            <a:srgbClr val="5CB335"/>
          </p15:clr>
        </p15:guide>
        <p15:guide id="6" orient="horz" pos="4004" userDrawn="1">
          <p15:clr>
            <a:srgbClr val="5CB335"/>
          </p15:clr>
        </p15:guide>
        <p15:guide id="7" orient="horz" pos="576" userDrawn="1">
          <p15:clr>
            <a:srgbClr val="A4A3A4"/>
          </p15:clr>
        </p15:guide>
        <p15:guide id="8" orient="horz" pos="4061" userDrawn="1">
          <p15:clr>
            <a:srgbClr val="A4A3A4"/>
          </p15:clr>
        </p15:guide>
        <p15:guide id="9" orient="horz" pos="129" userDrawn="1">
          <p15:clr>
            <a:srgbClr val="A4A3A4"/>
          </p15:clr>
        </p15:guide>
        <p15:guide id="10" orient="horz" pos="72" userDrawn="1">
          <p15:clr>
            <a:srgbClr val="A4A3A4"/>
          </p15:clr>
        </p15:guide>
        <p15:guide id="11" orient="horz" pos="2160" userDrawn="1">
          <p15:clr>
            <a:srgbClr val="FBAE40"/>
          </p15:clr>
        </p15:guide>
        <p15:guide id="12" pos="3840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B81DB8-86C1-455B-9E4C-43AFF5B4CB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53F936-279B-41B9-879A-134B1936A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59D0C5-8C90-4C89-8465-DB0047519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76364A9-E009-420F-B76E-6BCFAEB9D86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137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B4BF75-98D0-4BA2-AD1D-4485D9A28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28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ACD180D-0ABD-48EA-84ED-C84193524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268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9B4D7E-22D3-4596-9110-04F851BEE4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309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5757F9-2E37-4952-A957-7AA89EA28D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797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53899999999999970157E+00&quot;&gt;&lt;m_msothmcolidx val=&quot;0&quot;/&gt;&lt;m_rgb r=&quot;D6&quot; g=&quot;EF&quot; b=&quot;CB&quot;/&gt;&lt;m_nBrightness val=&quot;0&quot;/&gt;&lt;/elem&gt;&lt;elem m_fUsage=&quot;9.00000000000000022204E-01&quot;&gt;&lt;m_msothmcolidx val=&quot;0&quot;/&gt;&lt;m_rgb r=&quot;78&quot; g=&quot;BD&quot; b=&quot;04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LASTUPGRADETRY" val="20181204"/>
  <p:tag name="CONFRIX-PRESENTATION-ID" val="3a9a64c3-77b9-498f-9211-09ca0ee6b30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pfJlF3SnSzmuJCTDOm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Lfy02QFC6lso_Hl_z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gAQAsLCe2ls1IOp4U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ulLEFZbRLQZZQGGvI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NbnWPrgj7CKzerVj1z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sAMj3lvZTsrmqMU.317w"/>
</p:tagLst>
</file>

<file path=ppt/theme/theme1.xml><?xml version="1.0" encoding="utf-8"?>
<a:theme xmlns:a="http://schemas.openxmlformats.org/drawingml/2006/main" name="AP 2021 Theme">
  <a:themeElements>
    <a:clrScheme name="AlixPartners 2021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0696A6"/>
      </a:hlink>
      <a:folHlink>
        <a:srgbClr val="0696A6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AlixPartner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9525" cap="flat" cmpd="sng" algn="ctr">
          <a:solidFill>
            <a:schemeClr val="phClr"/>
          </a:solidFill>
        </a:ln>
        <a:ln w="9525" cap="flat" cmpd="sng" algn="ctr">
          <a:solidFill>
            <a:schemeClr val="phClr"/>
          </a:solidFill>
        </a:ln>
        <a:ln w="9525" cap="flat" cmpd="sng" algn="ctr">
          <a:solidFill>
            <a:schemeClr val="phClr"/>
          </a:solidFill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5"/>
        </a:solidFill>
        <a:solidFill>
          <a:schemeClr val="accent2"/>
        </a:solidFill>
      </a:bgFillStyleLst>
    </a:fmtScheme>
  </a:themeElements>
  <a:objectDefaults>
    <a:spDef>
      <a:spPr bwMode="gray">
        <a:solidFill>
          <a:schemeClr val="accent2"/>
        </a:solidFill>
      </a:spPr>
      <a:bodyPr vert="horz" wrap="square" lIns="45720" tIns="45720" rIns="45720" bIns="45720" rtlCol="0" anchor="ctr" anchorCtr="0"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</a:spDef>
    <a:lnDef>
      <a:spPr bwMode="gray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wrap="square" lIns="0" tIns="0" rIns="0" bIns="0" rtlCol="0">
        <a:noAutofit/>
      </a:bodyPr>
      <a:lstStyle>
        <a:defPPr>
          <a:defRPr sz="1200" dirty="0" smtClean="0"/>
        </a:defPPr>
      </a:lstStyle>
    </a:txDef>
  </a:objectDefaults>
  <a:extraClrSchemeLst/>
  <a:custClrLst>
    <a:custClr name="Dark Red">
      <a:srgbClr val="D12824"/>
    </a:custClr>
    <a:custClr name="Corporate Red">
      <a:srgbClr val="FF3130"/>
    </a:custClr>
    <a:custClr name="Orange">
      <a:srgbClr val="FF600F"/>
    </a:custClr>
    <a:custClr name="Light Orange">
      <a:srgbClr val="FF910F"/>
    </a:custClr>
    <a:custClr name="Corporate Yellow">
      <a:srgbClr val="F2D715"/>
    </a:custClr>
    <a:custClr name="Dark Green">
      <a:srgbClr val="15723B"/>
    </a:custClr>
    <a:custClr name="Medium Green">
      <a:srgbClr val="008F0A"/>
    </a:custClr>
    <a:custClr name="AlixPartners Green">
      <a:srgbClr val="5CB335"/>
    </a:custClr>
    <a:custClr name="Light Green">
      <a:srgbClr val="B4D771"/>
    </a:custClr>
    <a:custClr name="Gridlines">
      <a:srgbClr val="DEDFE0"/>
    </a:custClr>
    <a:custClr name="Dark Purple">
      <a:srgbClr val="0E053D"/>
    </a:custClr>
    <a:custClr name="Navy Blue">
      <a:srgbClr val="26297F"/>
    </a:custClr>
    <a:custClr name="Royal Blue">
      <a:srgbClr val="004299"/>
    </a:custClr>
    <a:custClr name="Warm Grey">
      <a:srgbClr val="9D9C9C"/>
    </a:custClr>
  </a:custClrLst>
  <a:extLst>
    <a:ext uri="{05A4C25C-085E-4340-85A3-A5531E510DB2}">
      <thm15:themeFamily xmlns:thm15="http://schemas.microsoft.com/office/thememl/2012/main" name="Blank 16x9.potx" id="{8099548F-7ECB-42F6-AFCA-C396FCACF3DA}" vid="{D7E298AF-CC8B-4C5F-9E3D-4DE6CEAC6AD5}"/>
    </a:ext>
  </a:extLst>
</a:theme>
</file>

<file path=ppt/theme/theme2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16x9</Template>
  <TotalTime>1</TotalTime>
  <Words>0</Words>
  <Application>Microsoft Office PowerPoint</Application>
  <PresentationFormat>Widescreen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Verdana</vt:lpstr>
      <vt:lpstr>AP 2021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doya, Maximiliano</dc:creator>
  <cp:lastModifiedBy>Vedoya, Maximiliano</cp:lastModifiedBy>
  <cp:revision>1</cp:revision>
  <dcterms:created xsi:type="dcterms:W3CDTF">2022-11-20T14:07:48Z</dcterms:created>
  <dcterms:modified xsi:type="dcterms:W3CDTF">2022-11-20T14:0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d721ce-65e0-4caf-a503-75114c3e06ab_Enabled">
    <vt:lpwstr>true</vt:lpwstr>
  </property>
  <property fmtid="{D5CDD505-2E9C-101B-9397-08002B2CF9AE}" pid="3" name="MSIP_Label_07d721ce-65e0-4caf-a503-75114c3e06ab_SetDate">
    <vt:lpwstr>2020-03-20T11:13:08Z</vt:lpwstr>
  </property>
  <property fmtid="{D5CDD505-2E9C-101B-9397-08002B2CF9AE}" pid="4" name="MSIP_Label_07d721ce-65e0-4caf-a503-75114c3e06ab_Method">
    <vt:lpwstr>Standard</vt:lpwstr>
  </property>
  <property fmtid="{D5CDD505-2E9C-101B-9397-08002B2CF9AE}" pid="5" name="MSIP_Label_07d721ce-65e0-4caf-a503-75114c3e06ab_Name">
    <vt:lpwstr>Client Data_0</vt:lpwstr>
  </property>
  <property fmtid="{D5CDD505-2E9C-101B-9397-08002B2CF9AE}" pid="6" name="MSIP_Label_07d721ce-65e0-4caf-a503-75114c3e06ab_SiteId">
    <vt:lpwstr>cf55ce10-837b-42cd-8154-e9a4dbd18039</vt:lpwstr>
  </property>
  <property fmtid="{D5CDD505-2E9C-101B-9397-08002B2CF9AE}" pid="7" name="MSIP_Label_07d721ce-65e0-4caf-a503-75114c3e06ab_ActionId">
    <vt:lpwstr>ff909a48-1236-472a-a40d-0000801bdc4e</vt:lpwstr>
  </property>
  <property fmtid="{D5CDD505-2E9C-101B-9397-08002B2CF9AE}" pid="8" name="MSIP_Label_07d721ce-65e0-4caf-a503-75114c3e06ab_ContentBits">
    <vt:lpwstr>0</vt:lpwstr>
  </property>
  <property fmtid="{D5CDD505-2E9C-101B-9397-08002B2CF9AE}" pid="9" name="confrix-storage">
    <vt:lpwstr>{04D95FEB-265D-42FC-A8A1-310C9C47AED7}</vt:lpwstr>
  </property>
</Properties>
</file>